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7C0954BC-5E34-4741-8DA8-3CDFE2A57064}"/>
    <pc:docChg chg="modSld">
      <pc:chgData name="Weigel Stefan (PAR-EPS)" userId="fd3b2067-2981-4ad8-bf3a-d2e1004e4fa8" providerId="ADAL" clId="{7C0954BC-5E34-4741-8DA8-3CDFE2A57064}" dt="2024-04-25T07:35:23.927" v="28" actId="27918"/>
      <pc:docMkLst>
        <pc:docMk/>
      </pc:docMkLst>
      <pc:sldChg chg="modSp mod">
        <pc:chgData name="Weigel Stefan (PAR-EPS)" userId="fd3b2067-2981-4ad8-bf3a-d2e1004e4fa8" providerId="ADAL" clId="{7C0954BC-5E34-4741-8DA8-3CDFE2A57064}" dt="2024-04-25T07:35:23.927" v="28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7C0954BC-5E34-4741-8DA8-3CDFE2A57064}" dt="2024-04-25T07:32:19.435" v="19" actId="20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7C0954BC-5E34-4741-8DA8-3CDFE2A57064}" dt="2024-04-25T07:32:12.864" v="17" actId="207"/>
          <ac:spMkLst>
            <pc:docMk/>
            <pc:sldMk cId="3064315074" sldId="413"/>
            <ac:spMk id="13" creationId="{CB2EBD8C-0882-42C3-B5F5-BA01B7BFF2C3}"/>
          </ac:spMkLst>
        </pc:spChg>
        <pc:graphicFrameChg chg="mod">
          <ac:chgData name="Weigel Stefan (PAR-EPS)" userId="fd3b2067-2981-4ad8-bf3a-d2e1004e4fa8" providerId="ADAL" clId="{7C0954BC-5E34-4741-8DA8-3CDFE2A57064}" dt="2024-04-25T07:32:47.106" v="24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8C021AA3-F101-48AD-A8CF-554801ACB00F}"/>
    <pc:docChg chg="modSld">
      <pc:chgData name="Weigel Stefan (PAR-EPS)" userId="fd3b2067-2981-4ad8-bf3a-d2e1004e4fa8" providerId="ADAL" clId="{8C021AA3-F101-48AD-A8CF-554801ACB00F}" dt="2024-02-02T09:40:23.281" v="58" actId="27918"/>
      <pc:docMkLst>
        <pc:docMk/>
      </pc:docMkLst>
      <pc:sldChg chg="modSp mod">
        <pc:chgData name="Weigel Stefan (PAR-EPS)" userId="fd3b2067-2981-4ad8-bf3a-d2e1004e4fa8" providerId="ADAL" clId="{8C021AA3-F101-48AD-A8CF-554801ACB00F}" dt="2024-02-02T09:40:23.281" v="58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8C021AA3-F101-48AD-A8CF-554801ACB00F}" dt="2024-02-02T09:11:57.019" v="4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021AA3-F101-48AD-A8CF-554801ACB00F}" dt="2024-02-02T09:12:06.567" v="48" actId="20577"/>
          <ac:spMkLst>
            <pc:docMk/>
            <pc:sldMk cId="3064315074" sldId="413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Weigel Stefan (PAR-EPS)" userId="fd3b2067-2981-4ad8-bf3a-d2e1004e4fa8" providerId="ADAL" clId="{39CE93EC-824D-4111-9CF4-7755E5EAA73B}"/>
    <pc:docChg chg="modSld">
      <pc:chgData name="Weigel Stefan (PAR-EPS)" userId="fd3b2067-2981-4ad8-bf3a-d2e1004e4fa8" providerId="ADAL" clId="{39CE93EC-824D-4111-9CF4-7755E5EAA73B}" dt="2024-02-28T12:04:07.440" v="2" actId="27918"/>
      <pc:docMkLst>
        <pc:docMk/>
      </pc:docMkLst>
      <pc:sldChg chg="mod">
        <pc:chgData name="Weigel Stefan (PAR-EPS)" userId="fd3b2067-2981-4ad8-bf3a-d2e1004e4fa8" providerId="ADAL" clId="{39CE93EC-824D-4111-9CF4-7755E5EAA73B}" dt="2024-02-28T12:04:07.440" v="2" actId="27918"/>
        <pc:sldMkLst>
          <pc:docMk/>
          <pc:sldMk cId="3064315074" sldId="413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S)" userId="fd3b2067-2981-4ad8-bf3a-d2e1004e4fa8" providerId="ADAL" clId="{5C843503-A1E1-438D-989D-5B4429BAA24C}"/>
    <pc:docChg chg="undo custSel modSld">
      <pc:chgData name="Weigel Stefan (PAR-ES)" userId="fd3b2067-2981-4ad8-bf3a-d2e1004e4fa8" providerId="ADAL" clId="{5C843503-A1E1-438D-989D-5B4429BAA24C}" dt="2023-01-31T18:11:43.898" v="45" actId="20577"/>
      <pc:docMkLst>
        <pc:docMk/>
      </pc:docMkLst>
      <pc:sldChg chg="modSp mod">
        <pc:chgData name="Weigel Stefan (PAR-ES)" userId="fd3b2067-2981-4ad8-bf3a-d2e1004e4fa8" providerId="ADAL" clId="{5C843503-A1E1-438D-989D-5B4429BAA24C}" dt="2023-01-31T18:11:43.898" v="45" actId="20577"/>
        <pc:sldMkLst>
          <pc:docMk/>
          <pc:sldMk cId="3064315074" sldId="413"/>
        </pc:sldMkLst>
        <pc:spChg chg="mod">
          <ac:chgData name="Weigel Stefan (PAR-ES)" userId="fd3b2067-2981-4ad8-bf3a-d2e1004e4fa8" providerId="ADAL" clId="{5C843503-A1E1-438D-989D-5B4429BAA24C}" dt="2023-01-31T18:11:43.898" v="45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C843503-A1E1-438D-989D-5B4429BAA24C}" dt="2023-01-31T18:11:29.071" v="43" actId="20577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5C843503-A1E1-438D-989D-5B4429BAA24C}" dt="2023-01-31T18:10:42.681" v="3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DD92F550-CC58-4A72-A4D2-42A6684BFD19}"/>
    <pc:docChg chg="modSld">
      <pc:chgData name="Weigel Stefan (PAR-EPS)" userId="fd3b2067-2981-4ad8-bf3a-d2e1004e4fa8" providerId="ADAL" clId="{DD92F550-CC58-4A72-A4D2-42A6684BFD19}" dt="2025-02-24T10:05:02.943" v="6" actId="27918"/>
      <pc:docMkLst>
        <pc:docMk/>
      </pc:docMkLst>
      <pc:sldChg chg="modSp mod">
        <pc:chgData name="Weigel Stefan (PAR-EPS)" userId="fd3b2067-2981-4ad8-bf3a-d2e1004e4fa8" providerId="ADAL" clId="{DD92F550-CC58-4A72-A4D2-42A6684BFD19}" dt="2025-02-24T10:05:02.943" v="6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DD92F550-CC58-4A72-A4D2-42A6684BFD19}" dt="2025-02-24T10:04:47.046" v="1" actId="20577"/>
          <ac:spMkLst>
            <pc:docMk/>
            <pc:sldMk cId="3064315074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E7A0F7C-2499-4150-B115-A7A505765366}"/>
    <pc:docChg chg="modSld">
      <pc:chgData name="Weigel Stefan (PAR-EPS)" userId="fd3b2067-2981-4ad8-bf3a-d2e1004e4fa8" providerId="ADAL" clId="{4E7A0F7C-2499-4150-B115-A7A505765366}" dt="2024-02-13T15:48:56.619" v="35" actId="20577"/>
      <pc:docMkLst>
        <pc:docMk/>
      </pc:docMkLst>
      <pc:sldChg chg="modSp mod">
        <pc:chgData name="Weigel Stefan (PAR-EPS)" userId="fd3b2067-2981-4ad8-bf3a-d2e1004e4fa8" providerId="ADAL" clId="{4E7A0F7C-2499-4150-B115-A7A505765366}" dt="2024-02-13T15:48:56.619" v="35" actId="20577"/>
        <pc:sldMkLst>
          <pc:docMk/>
          <pc:sldMk cId="3064315074" sldId="413"/>
        </pc:sldMkLst>
        <pc:spChg chg="mod">
          <ac:chgData name="Weigel Stefan (PAR-EPS)" userId="fd3b2067-2981-4ad8-bf3a-d2e1004e4fa8" providerId="ADAL" clId="{4E7A0F7C-2499-4150-B115-A7A505765366}" dt="2024-02-02T10:26:02.477" v="2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E7A0F7C-2499-4150-B115-A7A505765366}" dt="2024-02-13T15:48:56.619" v="35" actId="2057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4E7A0F7C-2499-4150-B115-A7A505765366}" dt="2024-02-02T10:26:10.707" v="3"/>
          <ac:spMkLst>
            <pc:docMk/>
            <pc:sldMk cId="3064315074" sldId="413"/>
            <ac:spMk id="12" creationId="{00D4BB6A-0DD0-4B80-9845-0467B947A6BE}"/>
          </ac:spMkLst>
        </pc:spChg>
        <pc:graphicFrameChg chg="mod">
          <ac:chgData name="Weigel Stefan (PAR-EPS)" userId="fd3b2067-2981-4ad8-bf3a-d2e1004e4fa8" providerId="ADAL" clId="{4E7A0F7C-2499-4150-B115-A7A505765366}" dt="2024-02-02T10:28:00.226" v="4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Trains de voyageurs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4-1A51-42B5-B977-308A943C363D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CFF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4295560048984708</c:v>
                </c:pt>
                <c:pt idx="1">
                  <c:v>16.1484037564122</c:v>
                </c:pt>
                <c:pt idx="2">
                  <c:v>16.719168403461101</c:v>
                </c:pt>
                <c:pt idx="3">
                  <c:v>30.709126671842998</c:v>
                </c:pt>
                <c:pt idx="4">
                  <c:v>27.4756380578043</c:v>
                </c:pt>
                <c:pt idx="5">
                  <c:v>34.804228683023702</c:v>
                </c:pt>
                <c:pt idx="6">
                  <c:v>41.654444032546202</c:v>
                </c:pt>
                <c:pt idx="7">
                  <c:v>51.305829158672204</c:v>
                </c:pt>
                <c:pt idx="8">
                  <c:v>63.044588939120999</c:v>
                </c:pt>
                <c:pt idx="9">
                  <c:v>69.926545475980703</c:v>
                </c:pt>
                <c:pt idx="10">
                  <c:v>68.871666369792294</c:v>
                </c:pt>
                <c:pt idx="11">
                  <c:v>127.374980292171</c:v>
                </c:pt>
                <c:pt idx="12">
                  <c:v>137.86668745426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Trains de marchandises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1A51-42B5-B977-308A943C363D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CFF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6.96465696465697</c:v>
                </c:pt>
                <c:pt idx="1">
                  <c:v>5.8055327180722296</c:v>
                </c:pt>
                <c:pt idx="2">
                  <c:v>5.6141799856754799</c:v>
                </c:pt>
                <c:pt idx="3">
                  <c:v>4.3836666879672803</c:v>
                </c:pt>
                <c:pt idx="4">
                  <c:v>11.8222252006428</c:v>
                </c:pt>
                <c:pt idx="5">
                  <c:v>10.328157542713001</c:v>
                </c:pt>
                <c:pt idx="6">
                  <c:v>10.2719945141008</c:v>
                </c:pt>
                <c:pt idx="7">
                  <c:v>8.1897634329207101</c:v>
                </c:pt>
                <c:pt idx="8">
                  <c:v>6.9465499091667899</c:v>
                </c:pt>
                <c:pt idx="9">
                  <c:v>21.569365893914998</c:v>
                </c:pt>
                <c:pt idx="10">
                  <c:v>24.9223060124122</c:v>
                </c:pt>
                <c:pt idx="11">
                  <c:v>9.5943718946092904</c:v>
                </c:pt>
                <c:pt idx="12">
                  <c:v>23.05907038158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8659</cdr:x>
      <cdr:y>0.02211</cdr:y>
    </cdr:from>
    <cdr:to>
      <cdr:x>0.9064</cdr:x>
      <cdr:y>0.05942</cdr:y>
    </cdr:to>
    <cdr:sp macro="" textlink="">
      <cdr:nvSpPr>
        <cdr:cNvPr id="2" name="Textfeld 1">
          <a:extLst xmlns:a="http://schemas.openxmlformats.org/drawingml/2006/main">
            <a:ext uri="{FF2B5EF4-FFF2-40B4-BE49-F238E27FC236}">
              <a16:creationId xmlns:a16="http://schemas.microsoft.com/office/drawing/2014/main" id="{6DAE65E8-CBDA-2540-F003-5040D8687C55}"/>
            </a:ext>
          </a:extLst>
        </cdr:cNvPr>
        <cdr:cNvSpPr txBox="1"/>
      </cdr:nvSpPr>
      <cdr:spPr>
        <a:xfrm xmlns:a="http://schemas.openxmlformats.org/drawingml/2006/main">
          <a:off x="9345215" y="100314"/>
          <a:ext cx="1423467" cy="169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0" tIns="0" rIns="0" bIns="0" rtlCol="0">
          <a:spAutoFit/>
        </a:bodyPr>
        <a:lstStyle xmlns:a="http://schemas.openxmlformats.org/drawingml/2006/main"/>
        <a:p xmlns:a="http://schemas.openxmlformats.org/drawingml/2006/main">
          <a:pPr algn="l"/>
          <a:r>
            <a:rPr lang="fr-FR" sz="1100" dirty="0">
              <a:solidFill>
                <a:schemeClr val="tx2"/>
              </a:solidFill>
            </a:rPr>
            <a:t>Trains par ligne par jour</a:t>
          </a:r>
          <a:endParaRPr lang="de-CH" sz="1100" dirty="0" err="1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Utilisation des réseaux ferroviaires en Europe e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949730438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ombre moyen de trains par ligne et par jour sur l’infrastructure ferroviaire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43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309AD03F-1090-449E-B8EB-4436E8FD25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www.w3.org/XML/1998/namespace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2f5c8543-cf23-4718-a3b8-32b0a91d511a"/>
    <ds:schemaRef ds:uri="http://schemas.openxmlformats.org/package/2006/metadata/core-properties"/>
    <ds:schemaRef ds:uri="96e82a89-ba48-4728-b345-cf206dbec8f1"/>
    <ds:schemaRef ds:uri="http://schemas.microsoft.com/office/2006/metadata/properties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tilisation des réseaux ferroviaires en Europe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ilisation des réseaux ferroviaires en Europe en 2023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